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E4DF63_F4B42167.xml" ContentType="application/vnd.ms-powerpoint.comments+xml"/>
  <Override PartName="/ppt/notesSlides/notesSlide5.xml" ContentType="application/vnd.openxmlformats-officedocument.presentationml.notesSlide+xml"/>
  <Override PartName="/ppt/comments/modernComment_7FE4DF8B_D4CB4567.xml" ContentType="application/vnd.ms-powerpoint.comments+xml"/>
  <Override PartName="/ppt/notesSlides/notesSlide6.xml" ContentType="application/vnd.openxmlformats-officedocument.presentationml.notesSlide+xml"/>
  <Override PartName="/ppt/comments/modernComment_7FE4DF6F_5ECFEC68.xml" ContentType="application/vnd.ms-powerpoint.comments+xml"/>
  <Override PartName="/ppt/comments/modernComment_7FE4DF7F_9FFEA752.xml" ContentType="application/vnd.ms-powerpoint.comments+xml"/>
  <Override PartName="/ppt/comments/modernComment_7FE4DF65_56015F78.xml" ContentType="application/vnd.ms-powerpoint.comments+xml"/>
  <Override PartName="/ppt/comments/modernComment_7FE4DF6B_E06148EC.xml" ContentType="application/vnd.ms-powerpoint.comments+xml"/>
  <Override PartName="/ppt/comments/modernComment_7FE4DF89_BC1C3F6A.xml" ContentType="application/vnd.ms-powerpoint.comments+xml"/>
  <Override PartName="/ppt/comments/modernComment_7FE4DF8A_1A68F0E2.xml" ContentType="application/vnd.ms-powerpoint.comment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9"/>
  </p:notesMasterIdLst>
  <p:handoutMasterIdLst>
    <p:handoutMasterId r:id="rId30"/>
  </p:handoutMasterIdLst>
  <p:sldIdLst>
    <p:sldId id="321" r:id="rId5"/>
    <p:sldId id="2145705986" r:id="rId6"/>
    <p:sldId id="304" r:id="rId7"/>
    <p:sldId id="2145705832" r:id="rId8"/>
    <p:sldId id="2145705833" r:id="rId9"/>
    <p:sldId id="2145705826" r:id="rId10"/>
    <p:sldId id="2145705987" r:id="rId11"/>
    <p:sldId id="2145705827" r:id="rId12"/>
    <p:sldId id="2145705867" r:id="rId13"/>
    <p:sldId id="2145705839" r:id="rId14"/>
    <p:sldId id="2145705855" r:id="rId15"/>
    <p:sldId id="2145705856" r:id="rId16"/>
    <p:sldId id="2145705829" r:id="rId17"/>
    <p:sldId id="2145705847" r:id="rId18"/>
    <p:sldId id="2145705868" r:id="rId19"/>
    <p:sldId id="2145705835" r:id="rId20"/>
    <p:sldId id="2145705838" r:id="rId21"/>
    <p:sldId id="2145705860" r:id="rId22"/>
    <p:sldId id="2145706001" r:id="rId23"/>
    <p:sldId id="2145705865" r:id="rId24"/>
    <p:sldId id="2145705844" r:id="rId25"/>
    <p:sldId id="2145705859" r:id="rId26"/>
    <p:sldId id="2145705866" r:id="rId27"/>
    <p:sldId id="2145706002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02469D-9C0C-C5A6-E68E-ADAFE02B4061}" name="Vo Thinh" initials="VT" userId="de732eb4ee61810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8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14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omments/modernComment_7FE4DF63_F4B421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AD9F005-04ED-4DBF-8EA0-A1F28D2A6EB0}" authorId="{6402469D-9C0C-C5A6-E68E-ADAFE02B4061}" created="2024-06-27T02:58:13.855">
    <pc:sldMkLst xmlns:pc="http://schemas.microsoft.com/office/powerpoint/2013/main/command">
      <pc:docMk/>
      <pc:sldMk cId="4105445735" sldId="2145705827"/>
    </pc:sldMkLst>
    <p188:pos x="9912350" y="3890962"/>
    <p188:txBody>
      <a:bodyPr/>
      <a:lstStyle/>
      <a:p>
        <a:r>
          <a:rPr lang="en-US"/>
          <a:t>1. Query for trending tag in the last 7 days
SELECT tag_name, SUM(usage_count) AS total_usage
FROM tag
WHERE last_used &gt;= NOW() - INTERVAL 7 DAY
GROUP BY tag_name
ORDER BY total_usage DESC;</a:t>
        </a:r>
      </a:p>
    </p188:txBody>
  </p188:cm>
  <p188:cm id="{5A7327A7-B7D0-4E73-8ECE-2E23078C235A}" authorId="{6402469D-9C0C-C5A6-E68E-ADAFE02B4061}" created="2024-06-28T06:47:30.921">
    <pc:sldMkLst xmlns:pc="http://schemas.microsoft.com/office/powerpoint/2013/main/command">
      <pc:docMk/>
      <pc:sldMk cId="4105445735" sldId="2145705827"/>
    </pc:sldMkLst>
    <p188:pos x="9182100" y="1917700"/>
    <p188:replyLst>
      <p188:reply id="{67954989-80FF-4748-8F94-EB531F9B8EFA}" authorId="{6402469D-9C0C-C5A6-E68E-ADAFE02B4061}" created="2024-06-28T06:51:43.455">
        <p188:txBody>
          <a:bodyPr/>
          <a:lstStyle/>
          <a:p>
            <a:r>
              <a:rPr lang="en-US"/>
              <a:t>SELECT rating
FROM platform_rating 
ORDER BY platform_rating.rating DESC
LIMIT 1
;</a:t>
            </a:r>
          </a:p>
        </p188:txBody>
      </p188:reply>
    </p188:replyLst>
    <p188:txBody>
      <a:bodyPr/>
      <a:lstStyle/>
      <a:p>
        <a:r>
          <a:rPr lang="en-US"/>
          <a:t>2. Platform rating</a:t>
        </a:r>
      </a:p>
    </p188:txBody>
  </p188:cm>
  <p188:cm id="{874D7070-441C-49FC-9DE7-3D001769DC4F}" authorId="{6402469D-9C0C-C5A6-E68E-ADAFE02B4061}" created="2024-06-28T06:53:08.618">
    <pc:sldMkLst xmlns:pc="http://schemas.microsoft.com/office/powerpoint/2013/main/command">
      <pc:docMk/>
      <pc:sldMk cId="4105445735" sldId="2145705827"/>
    </pc:sldMkLst>
    <p188:replyLst>
      <p188:reply id="{D6EE8B87-D694-45A8-9F06-8CCEF5F6A89B}" authorId="{6402469D-9C0C-C5A6-E68E-ADAFE02B4061}" created="2024-06-28T06:55:47.039">
        <p188:txBody>
          <a:bodyPr/>
          <a:lstStyle/>
          <a:p>
            <a:r>
              <a:rPr lang="en-US"/>
              <a:t>SELECT p.display_image, p.name, u.name, p.post_date
FROM posts p
JOIN users u ON p.user_id = u.id
WHERE u.Industry = (SELECT Industry FROM users WHERE id = 1)
ORDER BY p.views DESC;</a:t>
            </a:r>
          </a:p>
        </p188:txBody>
      </p188:reply>
    </p188:replyLst>
    <p188:txBody>
      <a:bodyPr/>
      <a:lstStyle/>
      <a:p>
        <a:r>
          <a:rPr lang="en-US"/>
          <a:t>3. Feature posts</a:t>
        </a:r>
      </a:p>
    </p188:txBody>
  </p188:cm>
  <p188:cm id="{E37CB418-6805-4401-8DEF-50A7FF91037A}" authorId="{6402469D-9C0C-C5A6-E68E-ADAFE02B4061}" created="2024-06-28T06:56:00.651">
    <pc:sldMkLst xmlns:pc="http://schemas.microsoft.com/office/powerpoint/2013/main/command">
      <pc:docMk/>
      <pc:sldMk cId="4105445735" sldId="2145705827"/>
    </pc:sldMkLst>
    <p188:pos x="9255125" y="4410075"/>
    <p188:replyLst>
      <p188:reply id="{7A370457-1FFB-47AA-A0F2-51A53EE486C2}" authorId="{6402469D-9C0C-C5A6-E68E-ADAFE02B4061}" created="2024-06-28T06:57:53.168">
        <p188:txBody>
          <a:bodyPr/>
          <a:lstStyle/>
          <a:p>
            <a:r>
              <a:rPr lang="en-US"/>
              <a:t>SELECT p.display_image, p.name, u.name, p.post_date
FROM posts p
JOIN users u ON p.user_id = u.id
WHERE u.Industry = (SELECT Industry FROM users WHERE id = 1)
ORDER BY p.likes, p.comments, p.shares DESC;</a:t>
            </a:r>
          </a:p>
        </p188:txBody>
      </p188:reply>
    </p188:replyLst>
    <p188:txBody>
      <a:bodyPr/>
      <a:lstStyle/>
      <a:p>
        <a:r>
          <a:rPr lang="en-US"/>
          <a:t>4. Trending posts</a:t>
        </a:r>
      </a:p>
    </p188:txBody>
  </p188:cm>
  <p188:cm id="{CC48693E-F0A6-4A29-9825-CCD573CB080E}" authorId="{6402469D-9C0C-C5A6-E68E-ADAFE02B4061}" created="2024-06-28T06:58:33.182">
    <pc:sldMkLst xmlns:pc="http://schemas.microsoft.com/office/powerpoint/2013/main/command">
      <pc:docMk/>
      <pc:sldMk cId="4105445735" sldId="2145705827"/>
    </pc:sldMkLst>
    <p188:pos x="9788525" y="4400550"/>
    <p188:replyLst>
      <p188:reply id="{E85EB105-801B-4EE8-AB94-276AD4D2B3DF}" authorId="{6402469D-9C0C-C5A6-E68E-ADAFE02B4061}" created="2024-06-28T07:00:25.558">
        <p188:txBody>
          <a:bodyPr/>
          <a:lstStyle/>
          <a:p>
            <a:r>
              <a:rPr lang="en-US"/>
              <a:t>SELECT u.name, u.profile_pic, p.content, p.views
FROM users u
JOIN posts p ON u.id = p.user_id
WHERE p.post_date &gt;= NOW() - INTERVAL '7 days'
ORDER BY p.views DESC;</a:t>
            </a:r>
          </a:p>
        </p188:txBody>
      </p188:reply>
    </p188:replyLst>
    <p188:txBody>
      <a:bodyPr/>
      <a:lstStyle/>
      <a:p>
        <a:r>
          <a:rPr lang="en-US"/>
          <a:t>5. Rising authors</a:t>
        </a:r>
      </a:p>
    </p188:txBody>
  </p188:cm>
</p188:cmLst>
</file>

<file path=ppt/comments/modernComment_7FE4DF65_56015F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1C46C5-1C59-45C0-8686-15C10C77B8A3}" authorId="{6402469D-9C0C-C5A6-E68E-ADAFE02B4061}" created="2024-06-28T09:18:30.058">
    <pc:sldMkLst xmlns:pc="http://schemas.microsoft.com/office/powerpoint/2013/main/command">
      <pc:docMk/>
      <pc:sldMk cId="1442930552" sldId="2145705829"/>
    </pc:sldMkLst>
    <p188:pos x="7099300" y="1171575"/>
    <p188:replyLst>
      <p188:reply id="{7FF86EA7-5F08-45DB-B8DC-1F47E591D4E8}" authorId="{6402469D-9C0C-C5A6-E68E-ADAFE02B4061}" created="2024-06-28T09:18:31.986">
        <p188:txBody>
          <a:bodyPr/>
          <a:lstStyle/>
          <a:p>
            <a:r>
              <a:rPr lang="en-US"/>
              <a:t>SELECT *
FROM network
WHERE user_id = 1;</a:t>
            </a:r>
          </a:p>
        </p188:txBody>
      </p188:reply>
    </p188:replyLst>
    <p188:txBody>
      <a:bodyPr/>
      <a:lstStyle/>
      <a:p>
        <a:r>
          <a:rPr lang="en-US"/>
          <a:t>1. Network</a:t>
        </a:r>
      </a:p>
    </p188:txBody>
  </p188:cm>
  <p188:cm id="{380B6D66-9748-41F7-9ADE-9C89C930EA84}" authorId="{6402469D-9C0C-C5A6-E68E-ADAFE02B4061}" created="2024-06-28T09:22:41.649">
    <pc:sldMkLst xmlns:pc="http://schemas.microsoft.com/office/powerpoint/2013/main/command">
      <pc:docMk/>
      <pc:sldMk cId="1442930552" sldId="2145705829"/>
    </pc:sldMkLst>
    <p188:pos x="9918700" y="1311275"/>
    <p188:replyLst>
      <p188:reply id="{162BD5D8-AC66-4425-9FBB-44EBFC8CA596}" authorId="{6402469D-9C0C-C5A6-E68E-ADAFE02B4061}" created="2024-06-28T09:22:44.205">
        <p188:txBody>
          <a:bodyPr/>
          <a:lstStyle/>
          <a:p>
            <a:r>
              <a:rPr lang="en-US"/>
              <a:t>SELECT u.name, u.role, u.phone_number, u.email
FROM users AS u
JOIN connections AS c ON u.id = c.connector_id
WHERE c.receiver_id = 1;</a:t>
            </a:r>
          </a:p>
        </p188:txBody>
      </p188:reply>
    </p188:replyLst>
    <p188:txBody>
      <a:bodyPr/>
      <a:lstStyle/>
      <a:p>
        <a:r>
          <a:rPr lang="en-US"/>
          <a:t>2. User that connects to user with id = 1</a:t>
        </a:r>
      </a:p>
    </p188:txBody>
  </p188:cm>
  <p188:cm id="{AE1EE682-B0B9-45B3-AF1E-72EAA5D94BD2}" authorId="{6402469D-9C0C-C5A6-E68E-ADAFE02B4061}" created="2024-06-28T09:37:49.668">
    <pc:sldMkLst xmlns:pc="http://schemas.microsoft.com/office/powerpoint/2013/main/command">
      <pc:docMk/>
      <pc:sldMk cId="1442930552" sldId="2145705829"/>
    </pc:sldMkLst>
    <p188:pos x="9210675" y="3216275"/>
    <p188:replyLst>
      <p188:reply id="{E3C5057E-9E6A-4122-8A1C-3CF2EFAC9909}" authorId="{6402469D-9C0C-C5A6-E68E-ADAFE02B4061}" created="2024-06-28T09:39:32.968">
        <p188:txBody>
          <a:bodyPr/>
          <a:lstStyle/>
          <a:p>
            <a:r>
              <a:rPr lang="en-US"/>
              <a:t>SELECT u.name, u.role, u.phone_number, u.email
FROM users u
JOIN activities a ON u.id = a.target_id
WHERE a.user_id = 1
  AND a.activity_date BETWEEN NOW() - INTERVAL '7 days' AND NOW()
  AND a.activity_name IN ('like', 'share', 'comment');</a:t>
            </a:r>
          </a:p>
        </p188:txBody>
      </p188:reply>
    </p188:replyLst>
    <p188:txBody>
      <a:bodyPr/>
      <a:lstStyle/>
      <a:p>
        <a:r>
          <a:rPr lang="en-US"/>
          <a:t>3. People u may know...</a:t>
        </a:r>
      </a:p>
    </p188:txBody>
  </p188:cm>
</p188:cmLst>
</file>

<file path=ppt/comments/modernComment_7FE4DF6B_E06148E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596180-9EA3-4E28-A0B1-63AFC8EE0F22}" authorId="{6402469D-9C0C-C5A6-E68E-ADAFE02B4061}" created="2024-06-28T09:45:32.252">
    <pc:sldMkLst xmlns:pc="http://schemas.microsoft.com/office/powerpoint/2013/main/command">
      <pc:docMk/>
      <pc:sldMk cId="3764472044" sldId="2145705835"/>
    </pc:sldMkLst>
    <p188:replyLst>
      <p188:reply id="{15C769EF-64D5-44F0-9B52-72EC9DBE4142}" authorId="{6402469D-9C0C-C5A6-E68E-ADAFE02B4061}" created="2024-06-28T09:45:33.791">
        <p188:txBody>
          <a:bodyPr/>
          <a:lstStyle/>
          <a:p>
            <a:r>
              <a:rPr lang="en-US"/>
              <a:t>SELECT e.*
FROM Event e;</a:t>
            </a:r>
          </a:p>
        </p188:txBody>
      </p188:reply>
    </p188:replyLst>
    <p188:txBody>
      <a:bodyPr/>
      <a:lstStyle/>
      <a:p>
        <a:r>
          <a:rPr lang="en-US"/>
          <a:t>1. Events</a:t>
        </a:r>
      </a:p>
    </p188:txBody>
  </p188:cm>
</p188:cmLst>
</file>

<file path=ppt/comments/modernComment_7FE4DF6F_5ECFEC6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7DA9DCC-5E35-4117-B02C-D1D77CDFB928}" authorId="{6402469D-9C0C-C5A6-E68E-ADAFE02B4061}" created="2024-06-25T11:49:11.492">
    <pc:sldMkLst xmlns:pc="http://schemas.microsoft.com/office/powerpoint/2013/main/command">
      <pc:docMk/>
      <pc:sldMk cId="1590684776" sldId="2145705839"/>
    </pc:sldMkLst>
    <p188:pos x="10280650" y="1670050"/>
    <p188:txBody>
      <a:bodyPr/>
      <a:lstStyle/>
      <a:p>
        <a:r>
          <a:rPr lang="en-US"/>
          <a:t>1. What are the popular posts in 7d span?
SELECT *
FROM posts
WHERE post_date &gt;= current_date - interval '7 days'
ORDER BY views DESC
LIMIT 5;</a:t>
        </a:r>
      </a:p>
    </p188:txBody>
  </p188:cm>
  <p188:cm id="{278BA90C-43BD-424C-8A16-8E7B22AE9977}" authorId="{6402469D-9C0C-C5A6-E68E-ADAFE02B4061}" created="2024-06-25T11:53:54.311">
    <pc:sldMkLst xmlns:pc="http://schemas.microsoft.com/office/powerpoint/2013/main/command">
      <pc:docMk/>
      <pc:sldMk cId="1590684776" sldId="2145705839"/>
    </pc:sldMkLst>
    <p188:pos x="10671175" y="5089525"/>
    <p188:txBody>
      <a:bodyPr/>
      <a:lstStyle/>
      <a:p>
        <a:r>
          <a:rPr lang="en-US"/>
          <a:t>2. What are the "People to follow"?
SELECT u.id, u.profile_pic, u.name, COUNT(f.followee_id) AS follower_count
FROM users u
LEFT JOIN follows f ON u.id = f.follower_id
WHERE u.id &lt;&gt; 1 AND u.Industry = (SELECT Industry FROM users WHERE id = 1)
GROUP BY u.id, u.name
ORDER BY follower_count DESC;</a:t>
        </a:r>
      </a:p>
    </p188:txBody>
  </p188:cm>
  <p188:cm id="{46C4B787-1E76-4B44-80F5-286A52967B18}" authorId="{6402469D-9C0C-C5A6-E68E-ADAFE02B4061}" created="2024-06-28T04:22:02.606">
    <pc:sldMkLst xmlns:pc="http://schemas.microsoft.com/office/powerpoint/2013/main/command">
      <pc:docMk/>
      <pc:sldMk cId="1590684776" sldId="2145705839"/>
    </pc:sldMkLst>
    <p188:pos x="5934075" y="1060450"/>
    <p188:txBody>
      <a:bodyPr/>
      <a:lstStyle/>
      <a:p>
        <a:r>
          <a:rPr lang="en-US"/>
          <a:t>3. "4u" posts with the post_date is within 1hr
SELECT p.*, u.Industry, u.profile_pic
FROM posts p
JOIN users u ON p.user_id = u.id
WHERE u.Industry = (SELECT Industry FROM users WHERE id = 1)
  AND p.post_date BETWEEN p.post_date::timestamp - interval '1 hour' AND p.post_date::timestamp;</a:t>
        </a:r>
      </a:p>
    </p188:txBody>
  </p188:cm>
  <p188:cm id="{F1D4B256-BCD7-4F3D-93B9-8CC56D919F5F}" authorId="{6402469D-9C0C-C5A6-E68E-ADAFE02B4061}" created="2024-06-28T04:39:33.975">
    <pc:sldMkLst xmlns:pc="http://schemas.microsoft.com/office/powerpoint/2013/main/command">
      <pc:docMk/>
      <pc:sldMk cId="1590684776" sldId="2145705839"/>
    </pc:sldMkLst>
    <p188:pos x="6492875" y="1162049"/>
    <p188:txBody>
      <a:bodyPr/>
      <a:lstStyle/>
      <a:p>
        <a:r>
          <a:rPr lang="en-US"/>
          <a:t>4. "Subcribed" posts with the post_date is within 1hr
SELECT p.*
FROM posts p
JOIN subs s ON p.user_id = s.publisher_id
WHERE s.subcriber_id = 1 
AND p.post_date BETWEEN p.post_date::timestamp - interval '1 hour' AND p.post_date::timestamp;</a:t>
        </a:r>
      </a:p>
    </p188:txBody>
  </p188:cm>
</p188:cmLst>
</file>

<file path=ppt/comments/modernComment_7FE4DF7F_9FFEA75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9EE32C8-CB53-43C3-97E6-B636120AF715}" authorId="{6402469D-9C0C-C5A6-E68E-ADAFE02B4061}" created="2024-06-28T06:25:55.230">
    <pc:sldMkLst xmlns:pc="http://schemas.microsoft.com/office/powerpoint/2013/main/command">
      <pc:docMk/>
      <pc:sldMk cId="2684266322" sldId="2145705855"/>
    </pc:sldMkLst>
    <p188:pos x="6661150" y="1752600"/>
    <p188:replyLst>
      <p188:reply id="{0E85A51D-DA49-40B8-AC14-2B4996EB44AE}" authorId="{6402469D-9C0C-C5A6-E68E-ADAFE02B4061}" created="2024-06-28T06:31:38.008">
        <p188:txBody>
          <a:bodyPr/>
          <a:lstStyle/>
          <a:p>
            <a:r>
              <a:rPr lang="en-US"/>
              <a:t>SELECT name, display_image FROM posts 
WHERE posts.post_date BETWEEN posts.post_date::timestamp - interval '7 day' AND posts.post_date::timestamp
ORDER BY likes DESC LIMIT 3</a:t>
            </a:r>
          </a:p>
        </p188:txBody>
      </p188:reply>
    </p188:replyLst>
    <p188:txBody>
      <a:bodyPr/>
      <a:lstStyle/>
      <a:p>
        <a:r>
          <a:rPr lang="en-US"/>
          <a:t>1. Readers's choices
</a:t>
        </a:r>
      </a:p>
    </p188:txBody>
  </p188:cm>
  <p188:cm id="{6C946E57-4CBC-4BF7-8498-4B2423FFC3A5}" authorId="{6402469D-9C0C-C5A6-E68E-ADAFE02B4061}" created="2024-06-28T06:26:12.291">
    <pc:sldMkLst xmlns:pc="http://schemas.microsoft.com/office/powerpoint/2013/main/command">
      <pc:docMk/>
      <pc:sldMk cId="2684266322" sldId="2145705855"/>
    </pc:sldMkLst>
    <p188:pos x="7566025" y="1301750"/>
    <p188:replyLst>
      <p188:reply id="{764445B4-4EC4-4FFB-9893-1BD224557A88}" authorId="{6402469D-9C0C-C5A6-E68E-ADAFE02B4061}" created="2024-06-28T06:31:23.256">
        <p188:txBody>
          <a:bodyPr/>
          <a:lstStyle/>
          <a:p>
            <a:r>
              <a:rPr lang="en-US"/>
              <a:t>SELECT tag_name FROM tag t
WHERE t.last_used BETWEEN t.last_used::timestamp - interval '7 day' AND t.last_used::timestamp 
ORDER BY usage_count DESC LIMIT 3
;</a:t>
            </a:r>
          </a:p>
        </p188:txBody>
      </p188:reply>
    </p188:replyLst>
    <p188:txBody>
      <a:bodyPr/>
      <a:lstStyle/>
      <a:p>
        <a:r>
          <a:rPr lang="en-US"/>
          <a:t>2. Trending keywords</a:t>
        </a:r>
      </a:p>
    </p188:txBody>
  </p188:cm>
  <p188:cm id="{5D5A35F4-A622-49F2-AD17-A55EA94E9C65}" authorId="{6402469D-9C0C-C5A6-E68E-ADAFE02B4061}" created="2024-06-28T06:32:44.591">
    <pc:sldMkLst xmlns:pc="http://schemas.microsoft.com/office/powerpoint/2013/main/command">
      <pc:docMk/>
      <pc:sldMk cId="2684266322" sldId="2145705855"/>
    </pc:sldMkLst>
    <p188:pos x="6829425" y="6007100"/>
    <p188:replyLst>
      <p188:reply id="{6B6D46C2-6CFE-4241-92D4-5B8E88A04126}" authorId="{6402469D-9C0C-C5A6-E68E-ADAFE02B4061}" created="2024-06-28T06:32:46.915">
        <p188:txBody>
          <a:bodyPr/>
          <a:lstStyle/>
          <a:p>
            <a:r>
              <a:rPr lang="en-US"/>
              <a:t>SELECT tag_name FROM tag t
ORDER BY usage_count DESC 
;</a:t>
            </a:r>
          </a:p>
        </p188:txBody>
      </p188:reply>
    </p188:replyLst>
    <p188:txBody>
      <a:bodyPr/>
      <a:lstStyle/>
      <a:p>
        <a:r>
          <a:rPr lang="en-US"/>
          <a:t>3. Most talked about tag</a:t>
        </a:r>
      </a:p>
    </p188:txBody>
  </p188:cm>
  <p188:cm id="{27930529-D60A-4A25-BA9C-EC3FA9659188}" authorId="{6402469D-9C0C-C5A6-E68E-ADAFE02B4061}" created="2024-06-28T06:44:38.521">
    <pc:sldMkLst xmlns:pc="http://schemas.microsoft.com/office/powerpoint/2013/main/command">
      <pc:docMk/>
      <pc:sldMk cId="2684266322" sldId="2145705855"/>
    </pc:sldMkLst>
    <p188:pos x="6559550" y="3524250"/>
    <p188:replyLst>
      <p188:reply id="{B006958A-7828-4C40-81AB-BD16E20FE194}" authorId="{6402469D-9C0C-C5A6-E68E-ADAFE02B4061}" created="2024-06-28T06:46:10.366">
        <p188:txBody>
          <a:bodyPr/>
          <a:lstStyle/>
          <a:p>
            <a:r>
              <a:rPr lang="en-US"/>
              <a:t>SELECT m.*, u.Industry, u.name, u.profile_pic
FROM mentor m
JOIN users u ON m.user_id = u.id
WHERE u.Industry = (SELECT Industry FROM users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4. Rising mentor</a:t>
        </a:r>
      </a:p>
    </p188:txBody>
  </p188:cm>
</p188:cmLst>
</file>

<file path=ppt/comments/modernComment_7FE4DF89_BC1C3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A145C2-5D6E-4FE1-AA17-D4237880A9EC}" authorId="{6402469D-9C0C-C5A6-E68E-ADAFE02B4061}" created="2024-06-28T10:16:03.785">
    <pc:sldMkLst xmlns:pc="http://schemas.microsoft.com/office/powerpoint/2013/main/command">
      <pc:docMk/>
      <pc:sldMk cId="3155967850" sldId="2145705865"/>
    </pc:sldMkLst>
    <p188:pos x="6121400" y="901700"/>
    <p188:replyLst>
      <p188:reply id="{6505AB57-0F56-418A-A013-B732F9890258}" authorId="{6402469D-9C0C-C5A6-E68E-ADAFE02B4061}" created="2024-06-28T10:16:05.125">
        <p188:txBody>
          <a:bodyPr/>
          <a:lstStyle/>
          <a:p>
            <a:r>
              <a:rPr lang="en-US"/>
              <a:t>SELECT *
FROM Job;</a:t>
            </a:r>
          </a:p>
        </p188:txBody>
      </p188:reply>
    </p188:replyLst>
    <p188:txBody>
      <a:bodyPr/>
      <a:lstStyle/>
      <a:p>
        <a:r>
          <a:rPr lang="en-US"/>
          <a:t>1. Jobs</a:t>
        </a:r>
      </a:p>
    </p188:txBody>
  </p188:cm>
</p188:cmLst>
</file>

<file path=ppt/comments/modernComment_7FE4DF8A_1A68F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DBB9B43-A67E-4D21-9853-A7647A5C749B}" authorId="{6402469D-9C0C-C5A6-E68E-ADAFE02B4061}" created="2024-06-28T09:47:47.998">
    <pc:sldMkLst xmlns:pc="http://schemas.microsoft.com/office/powerpoint/2013/main/command">
      <pc:docMk/>
      <pc:sldMk cId="443085026" sldId="2145705866"/>
    </pc:sldMkLst>
    <p188:pos x="6540500" y="882650"/>
    <p188:replyLst>
      <p188:reply id="{55EC9FA8-C1ED-44F3-9F46-B4421DE99F76}" authorId="{6402469D-9C0C-C5A6-E68E-ADAFE02B4061}" created="2024-06-28T09:47:49.784">
        <p188:txBody>
          <a:bodyPr/>
          <a:lstStyle/>
          <a:p>
            <a:r>
              <a:rPr lang="en-US"/>
              <a:t>SELECT COUNT(*) AS follower_count
FROM follows
WHERE followee_id = 1;</a:t>
            </a:r>
          </a:p>
        </p188:txBody>
      </p188:reply>
    </p188:replyLst>
    <p188:txBody>
      <a:bodyPr/>
      <a:lstStyle/>
      <a:p>
        <a:r>
          <a:rPr lang="en-US"/>
          <a:t>1. Number of followers?</a:t>
        </a:r>
      </a:p>
    </p188:txBody>
  </p188:cm>
  <p188:cm id="{7020571A-C195-4F77-94E2-02A18F9D77E7}" authorId="{6402469D-9C0C-C5A6-E68E-ADAFE02B4061}" created="2024-06-28T09:59:22.064">
    <pc:sldMkLst xmlns:pc="http://schemas.microsoft.com/office/powerpoint/2013/main/command">
      <pc:docMk/>
      <pc:sldMk cId="443085026" sldId="2145705866"/>
    </pc:sldMkLst>
    <p188:pos x="8648700" y="987425"/>
    <p188:replyLst>
      <p188:reply id="{CEA49020-46F9-4478-A63A-EA2F247CA609}" authorId="{6402469D-9C0C-C5A6-E68E-ADAFE02B4061}" created="2024-06-28T09:59:23.988">
        <p188:txBody>
          <a:bodyPr/>
          <a:lstStyle/>
          <a:p>
            <a:r>
              <a:rPr lang="en-US"/>
              <a:t>SELECT
  SUM(COALESCE(l.reaction_count, 0)) AS likes,
  SUM(COALESCE(s.reaction_count, 0)) AS shares,
  SUM(COALESCE(c.reaction_count, 0)) AS comments
FROM posts p
LEFT JOIN "like" l ON p.post_id = l.post_id
LEFT JOIN share s ON p.post_id = s.post_id
LEFT JOIN comment c ON p.post_id = c.post_id
WHERE p.user_id = 1;</a:t>
            </a:r>
          </a:p>
        </p188:txBody>
      </p188:reply>
    </p188:replyLst>
    <p188:txBody>
      <a:bodyPr/>
      <a:lstStyle/>
      <a:p>
        <a:r>
          <a:rPr lang="en-US"/>
          <a:t>2. Number of like, share and comment</a:t>
        </a:r>
      </a:p>
    </p188:txBody>
  </p188:cm>
  <p188:cm id="{43824E07-08F1-4AFC-9B4F-598AE7947F5B}" authorId="{6402469D-9C0C-C5A6-E68E-ADAFE02B4061}" created="2024-06-28T10:03:16.007">
    <pc:sldMkLst xmlns:pc="http://schemas.microsoft.com/office/powerpoint/2013/main/command">
      <pc:docMk/>
      <pc:sldMk cId="443085026" sldId="2145705866"/>
    </pc:sldMkLst>
    <p188:pos x="10563225" y="1816100"/>
    <p188:replyLst>
      <p188:reply id="{EE2750EB-C475-4025-8B6C-EB3037AA31BB}" authorId="{6402469D-9C0C-C5A6-E68E-ADAFE02B4061}" created="2024-06-28T10:03:18.674">
        <p188:txBody>
          <a:bodyPr/>
          <a:lstStyle/>
          <a:p>
            <a:r>
              <a:rPr lang="en-US"/>
              <a:t>WITH FollowerStats AS (
  SELECT
    u.gender,
    CASE
      WHEN u.age BETWEEN 20 AND 29 THEN '20-29'
      WHEN u.age BETWEEN 30 AND 39 THEN '30-39'
      ELSE 'Other'
    END AS age_range
  FROM users u
  JOIN follows f ON u.id = f.follower_id
  WHERE f.followee_id = 1
)
SELECT
  gender,
  age_range,
  COUNT(*) AS follower_count,
  ROUND(COUNT(*) * 100.0 / SUM(COUNT(*)) OVER (), 2) AS percentage
FROM FollowerStats
GROUP BY gender, age_range
ORDER BY gender, age_range;</a:t>
            </a:r>
          </a:p>
        </p188:txBody>
      </p188:reply>
    </p188:replyLst>
    <p188:txBody>
      <a:bodyPr/>
      <a:lstStyle/>
      <a:p>
        <a:r>
          <a:rPr lang="en-US"/>
          <a:t>3. Age and gender %</a:t>
        </a:r>
      </a:p>
    </p188:txBody>
  </p188:cm>
  <p188:cm id="{4B568475-FCAE-4322-9A7A-924C738B2677}" authorId="{6402469D-9C0C-C5A6-E68E-ADAFE02B4061}" created="2024-06-28T10:08:20.936">
    <pc:sldMkLst xmlns:pc="http://schemas.microsoft.com/office/powerpoint/2013/main/command">
      <pc:docMk/>
      <pc:sldMk cId="443085026" sldId="2145705866"/>
    </pc:sldMkLst>
    <p188:pos x="10741025" y="3467100"/>
    <p188:replyLst>
      <p188:reply id="{6F03FA82-35F8-4264-A727-A4B3B7EF2937}" authorId="{6402469D-9C0C-C5A6-E68E-ADAFE02B4061}" created="2024-06-28T10:08:23.538">
        <p188:txBody>
          <a:bodyPr/>
          <a:lstStyle/>
          <a:p>
            <a:r>
              <a:rPr lang="en-US"/>
              <a:t>WITH FollowerCountries AS (
  SELECT country
  FROM users
  WHERE id IN (
    SELECT follower_id
    FROM follows
    WHERE followee_id = 1
  )
    AND country IS NOT NULL -- Exclude null values (if any)
)
SELECT
  country,
  COUNT(*) AS follower_count,
  ROUND(COUNT(*) * 100.0 / SUM(COUNT(*)) OVER (), 2) AS percentage
FROM FollowerCountries
GROUP BY country;</a:t>
            </a:r>
          </a:p>
        </p188:txBody>
      </p188:reply>
    </p188:replyLst>
    <p188:txBody>
      <a:bodyPr/>
      <a:lstStyle/>
      <a:p>
        <a:r>
          <a:rPr lang="en-US"/>
          <a:t>4. Country %</a:t>
        </a:r>
      </a:p>
    </p188:txBody>
  </p188:cm>
  <p188:cm id="{270E4362-133E-4AAE-8FB4-372C36B6D008}" authorId="{6402469D-9C0C-C5A6-E68E-ADAFE02B4061}" created="2024-06-28T10:13:44.377">
    <pc:sldMkLst xmlns:pc="http://schemas.microsoft.com/office/powerpoint/2013/main/command">
      <pc:docMk/>
      <pc:sldMk cId="443085026" sldId="2145705866"/>
    </pc:sldMkLst>
    <p188:pos x="7848600" y="4159250"/>
    <p188:replyLst>
      <p188:reply id="{351E852A-3BB1-4111-9236-B6D19A23B542}" authorId="{6402469D-9C0C-C5A6-E68E-ADAFE02B4061}" created="2024-06-28T10:13:46.910">
        <p188:txBody>
          <a:bodyPr/>
          <a:lstStyle/>
          <a:p>
            <a:r>
              <a:rPr lang="en-US"/>
              <a:t>SELECT *
FROM posts
WHERE user_id = 1
AND posts.post_date BETWEEN NOW() - INTERVAL '7 days' AND NOW()
ORDER BY views DESC;</a:t>
            </a:r>
          </a:p>
        </p188:txBody>
      </p188:reply>
    </p188:replyLst>
    <p188:txBody>
      <a:bodyPr/>
      <a:lstStyle/>
      <a:p>
        <a:r>
          <a:rPr lang="en-US"/>
          <a:t>5. Recent top Posts</a:t>
        </a:r>
      </a:p>
    </p188:txBody>
  </p188:cm>
  <p188:cm id="{1F47D1B4-DD19-436C-BE0C-D280DB0DD7CD}" authorId="{6402469D-9C0C-C5A6-E68E-ADAFE02B4061}" created="2024-06-28T10:15:03.180">
    <pc:sldMkLst xmlns:pc="http://schemas.microsoft.com/office/powerpoint/2013/main/command">
      <pc:docMk/>
      <pc:sldMk cId="443085026" sldId="2145705866"/>
    </pc:sldMkLst>
    <p188:pos x="10861675" y="4978400"/>
    <p188:replyLst>
      <p188:reply id="{D3FCB4D1-0DFA-448A-B85D-8AA8AFA6076E}" authorId="{6402469D-9C0C-C5A6-E68E-ADAFE02B4061}" created="2024-06-28T10:15:05.467">
        <p188:txBody>
          <a:bodyPr/>
          <a:lstStyle/>
          <a:p>
            <a:r>
              <a:rPr lang="en-US"/>
              <a:t>SELECT *
FROM activities
WHERE user_id = 1
AND activities.activity_date BETWEEN NOW() - INTERVAL '7 days' AND NOW()
ORDER BY activities.activity_date DESC;</a:t>
            </a:r>
          </a:p>
        </p188:txBody>
      </p188:reply>
    </p188:replyLst>
    <p188:txBody>
      <a:bodyPr/>
      <a:lstStyle/>
      <a:p>
        <a:r>
          <a:rPr lang="en-US"/>
          <a:t>6. Activies</a:t>
        </a:r>
      </a:p>
    </p188:txBody>
  </p188:cm>
</p188:cmLst>
</file>

<file path=ppt/comments/modernComment_7FE4DF8B_D4CB45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9B07D1-6B1D-4732-9D13-D8799063ABC1}" authorId="{6402469D-9C0C-C5A6-E68E-ADAFE02B4061}" created="2024-06-28T04:42:16.031">
    <pc:sldMkLst xmlns:pc="http://schemas.microsoft.com/office/powerpoint/2013/main/command">
      <pc:docMk/>
      <pc:sldMk cId="3570091367" sldId="2145705867"/>
    </pc:sldMkLst>
    <p188:pos x="5765800" y="304800"/>
    <p188:txBody>
      <a:bodyPr/>
      <a:lstStyle/>
      <a:p>
        <a:r>
          <a:rPr lang="en-US"/>
          <a:t>1. Upcoming challenges in 24h
SELECT Thumbnail, Name, StartTime, Location
FROM challenges
WHERE StartTime BETWEEN CURRENT_DATE AND CURRENT_DATE + INTERVAL '1 day';</a:t>
        </a:r>
      </a:p>
    </p188:txBody>
  </p188:cm>
  <p188:cm id="{A046E03A-6B51-46A4-B38A-68CCA1D9B275}" authorId="{6402469D-9C0C-C5A6-E68E-ADAFE02B4061}" created="2024-06-28T06:47:02.617">
    <pc:sldMkLst xmlns:pc="http://schemas.microsoft.com/office/powerpoint/2013/main/command">
      <pc:docMk/>
      <pc:sldMk cId="3570091367" sldId="2145705867"/>
    </pc:sldMkLst>
    <p188:pos x="5607050" y="2946400"/>
    <p188:replyLst>
      <p188:reply id="{78AEF364-FA15-4DD1-996B-F40C5AF4E22A}" authorId="{6402469D-9C0C-C5A6-E68E-ADAFE02B4061}" created="2024-06-28T06:47:05.111">
        <p188:txBody>
          <a:bodyPr/>
          <a:lstStyle/>
          <a:p>
            <a:r>
              <a:rPr lang="en-US"/>
              <a:t>SELECT m.*, u.Industry, u.name, u.profile_pic
FROM mentor m
JOIN users u ON m.user_id = u.id
WHERE u.Industry = (SELECT Industry FROM users WHERE id = 1)
ORDER BY m.profile_views DESC;</a:t>
            </a:r>
          </a:p>
        </p188:txBody>
      </p188:reply>
    </p188:replyLst>
    <p188:txBody>
      <a:bodyPr/>
      <a:lstStyle/>
      <a:p>
        <a:r>
          <a:rPr lang="en-US"/>
          <a:t>2. Rising mentor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8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8.06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927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87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4980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03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63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F_5ECFEC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microsoft.com/office/2018/10/relationships/comments" Target="../comments/modernComment_7FE4DF7F_9FFEA75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65_56015F7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microsoft.com/office/2018/10/relationships/comments" Target="../comments/modernComment_7FE4DF6B_E06148EC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7FE4DF89_BC1C3F6A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17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microsoft.com/office/2018/10/relationships/comments" Target="../comments/modernComment_7FE4DF8A_1A68F0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63_F4B42167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DF8B_D4CB456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1D5B1F-508E-1CB3-0C16-1B6DF33B80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3750" y="731644"/>
            <a:ext cx="6925273" cy="59284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606F6F-E637-F885-3A69-1DAFE0913F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977" y="0"/>
            <a:ext cx="4403403" cy="674624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501831"/>
          </a:xfrm>
        </p:spPr>
        <p:txBody>
          <a:bodyPr vert="horz"/>
          <a:lstStyle/>
          <a:p>
            <a:r>
              <a:rPr lang="vi-VN" dirty="0"/>
              <a:t>  Fee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AE1F39-57C0-907F-7F62-6CCC44844224}"/>
              </a:ext>
            </a:extLst>
          </p:cNvPr>
          <p:cNvSpPr txBox="1"/>
          <p:nvPr/>
        </p:nvSpPr>
        <p:spPr>
          <a:xfrm>
            <a:off x="5510281" y="1396181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vi-VN" dirty="0"/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59068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376841"/>
          </a:xfrm>
        </p:spPr>
        <p:txBody>
          <a:bodyPr vert="horz"/>
          <a:lstStyle/>
          <a:p>
            <a:r>
              <a:rPr lang="vi-VN" dirty="0"/>
              <a:t>  Explor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944DB7-D62D-0058-1407-B64E89550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319" y="485404"/>
            <a:ext cx="4587681" cy="62608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968C37-9BB4-E834-833F-7723A93094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280" y="72736"/>
            <a:ext cx="5600594" cy="667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000"/>
            <a:ext cx="9720000" cy="518044"/>
          </a:xfrm>
        </p:spPr>
        <p:txBody>
          <a:bodyPr vert="horz"/>
          <a:lstStyle/>
          <a:p>
            <a:r>
              <a:rPr lang="vi-VN" dirty="0"/>
              <a:t>  Article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1AF28C-1F8C-BDEC-2FF2-35714C24A6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56" t="1000"/>
          <a:stretch/>
        </p:blipFill>
        <p:spPr>
          <a:xfrm>
            <a:off x="5871900" y="77638"/>
            <a:ext cx="5087859" cy="67893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2921CED-B349-3192-9D21-6D27253782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319" y="485404"/>
            <a:ext cx="4587681" cy="626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89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474399"/>
          </a:xfrm>
        </p:spPr>
        <p:txBody>
          <a:bodyPr vert="horz"/>
          <a:lstStyle/>
          <a:p>
            <a:r>
              <a:rPr lang="en-US" dirty="0"/>
              <a:t>  My Network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E829B-C6A5-8B7E-13F2-5B884B9E8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1"/>
          <a:stretch/>
        </p:blipFill>
        <p:spPr>
          <a:xfrm>
            <a:off x="6007608" y="690113"/>
            <a:ext cx="6046080" cy="56653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B10C7F-CAE4-A499-B5D6-78B2451618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320" y="431317"/>
            <a:ext cx="4407822" cy="641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3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</a:t>
            </a:r>
            <a:r>
              <a:rPr lang="en-US" dirty="0"/>
              <a:t> </a:t>
            </a:r>
            <a:br>
              <a:rPr lang="vi-VN" dirty="0"/>
            </a:br>
            <a:r>
              <a:rPr lang="en-US" dirty="0"/>
              <a:t>  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80070F-E3E8-52C8-81CE-E34369A6DE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70"/>
          <a:stretch/>
        </p:blipFill>
        <p:spPr>
          <a:xfrm>
            <a:off x="4108704" y="827860"/>
            <a:ext cx="7637621" cy="532955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1C3514-18A8-B362-A143-28166A143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252" y="827860"/>
            <a:ext cx="2829320" cy="557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4356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Group Details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B93397-F878-2116-AC02-CFFE35711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442" y="424644"/>
            <a:ext cx="5438128" cy="580153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C667C9-A960-27AE-97BF-014C703344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289" y="607712"/>
            <a:ext cx="4889307" cy="6090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3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25A5B34-4BBD-C193-03D8-9E12D019EC8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8" r="639"/>
          <a:stretch/>
        </p:blipFill>
        <p:spPr>
          <a:xfrm>
            <a:off x="3347487" y="20466"/>
            <a:ext cx="7646703" cy="683753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en-US" dirty="0"/>
              <a:t>  Event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49E77D-B1D8-3743-2015-1BD095A78B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045" y="1015999"/>
            <a:ext cx="3617697" cy="403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7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5235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A54353-BBFE-15E4-1121-CF2CA31EEC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2"/>
          <a:stretch/>
        </p:blipFill>
        <p:spPr>
          <a:xfrm>
            <a:off x="5348784" y="-525"/>
            <a:ext cx="5599051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02847B-55C9-AA5C-1938-B36660F9CF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108" y="548115"/>
            <a:ext cx="4836298" cy="612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45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</a:t>
            </a:r>
            <a:r>
              <a:rPr lang="vi-VN" dirty="0"/>
              <a:t> Detail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72AE8C-C76C-2BED-E47F-F2FC7C4995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019" y="219787"/>
            <a:ext cx="5662046" cy="64184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653981-A1F7-8753-B88F-72C5095008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391" y="823679"/>
            <a:ext cx="4661237" cy="554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C329D5-956E-F220-5745-516A92EC6D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2158" y="9000"/>
            <a:ext cx="5707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vi-VN" dirty="0"/>
              <a:t>Social Subsystem </a:t>
            </a:r>
            <a:r>
              <a:rPr lang="en-GB" dirty="0"/>
              <a:t>|</a:t>
            </a:r>
            <a:r>
              <a:rPr lang="vi-VN" dirty="0"/>
              <a:t> Thinh Vo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MentorHub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Search Jobs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88183A-80DC-8A52-786E-F338C2D9A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7367" y="0"/>
            <a:ext cx="7277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96815"/>
          </a:xfrm>
        </p:spPr>
        <p:txBody>
          <a:bodyPr vert="horz"/>
          <a:lstStyle/>
          <a:p>
            <a:r>
              <a:rPr lang="en-US" dirty="0"/>
              <a:t>  User Profil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DF2907-13B1-E649-37C0-D2CF4422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2" t="672" r="1113"/>
          <a:stretch/>
        </p:blipFill>
        <p:spPr>
          <a:xfrm>
            <a:off x="6096000" y="802256"/>
            <a:ext cx="5913482" cy="557742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C28E38-FCA8-90AD-C4A3-A00D46F890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6968" y="396814"/>
            <a:ext cx="3554062" cy="646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32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vi-VN" dirty="0"/>
              <a:t>Edit </a:t>
            </a:r>
            <a:r>
              <a:rPr lang="en-US" dirty="0"/>
              <a:t>Profil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19753-D929-FE02-9C47-B056AB06C8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" t="972" r="1028"/>
          <a:stretch/>
        </p:blipFill>
        <p:spPr>
          <a:xfrm>
            <a:off x="2838449" y="66674"/>
            <a:ext cx="6486525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0AD7718-F856-0CB9-BD11-B54915A658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800" y="169035"/>
            <a:ext cx="4080097" cy="66889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64B919-5B73-84B3-0B53-C463583CF86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" t="351" r="536" b="5750"/>
          <a:stretch/>
        </p:blipFill>
        <p:spPr>
          <a:xfrm>
            <a:off x="5227750" y="56788"/>
            <a:ext cx="6669749" cy="67444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361950"/>
          </a:xfrm>
        </p:spPr>
        <p:txBody>
          <a:bodyPr vert="horz"/>
          <a:lstStyle/>
          <a:p>
            <a:r>
              <a:rPr lang="en-US" dirty="0"/>
              <a:t>  Dashboard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0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622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 noProof="0" dirty="0"/>
          </a:p>
          <a:p>
            <a:r>
              <a:rPr lang="vi-VN" dirty="0"/>
              <a:t>Mind </a:t>
            </a:r>
            <a:r>
              <a:rPr lang="en-US" dirty="0"/>
              <a:t>Maps</a:t>
            </a:r>
            <a:endParaRPr lang="vi-VN" noProof="0" dirty="0"/>
          </a:p>
          <a:p>
            <a:r>
              <a:rPr lang="vi-VN" noProof="0" dirty="0"/>
              <a:t>Use case </a:t>
            </a:r>
          </a:p>
          <a:p>
            <a:r>
              <a:rPr lang="vi-VN" dirty="0"/>
              <a:t>UI/UX/</a:t>
            </a:r>
            <a:r>
              <a:rPr lang="en-US" dirty="0"/>
              <a:t>Database</a:t>
            </a:r>
            <a:r>
              <a:rPr lang="vi-VN" dirty="0"/>
              <a:t> </a:t>
            </a:r>
            <a:r>
              <a:rPr lang="en-US" dirty="0"/>
              <a:t>Design</a:t>
            </a:r>
            <a:endParaRPr lang="vi-VN" dirty="0"/>
          </a:p>
          <a:p>
            <a:r>
              <a:rPr lang="en-US" noProof="0" dirty="0" err="1"/>
              <a:t>QnA</a:t>
            </a:r>
            <a:endParaRPr lang="vi-VN" noProof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/>
          <a:lstStyle/>
          <a:p>
            <a:r>
              <a:rPr lang="en-GB" noProof="0" dirty="0"/>
              <a:t>  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</a:t>
            </a:r>
            <a:r>
              <a:rPr lang="en-US" dirty="0" err="1"/>
              <a:t>MentorHub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D2650A-B52E-2452-1829-DA6BB142E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019" y="1633287"/>
            <a:ext cx="9211961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2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Social Subsystem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B963CF-D075-F040-341D-EB04B67E4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38" y="1809524"/>
            <a:ext cx="5906324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41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Use Cas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9" name="Picture 8" descr="A diagram of a network&#10;&#10;Description automatically generated">
            <a:extLst>
              <a:ext uri="{FF2B5EF4-FFF2-40B4-BE49-F238E27FC236}">
                <a16:creationId xmlns:a16="http://schemas.microsoft.com/office/drawing/2014/main" id="{BF4A9778-B348-C287-066B-3638457E33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367" y="0"/>
            <a:ext cx="52952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4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1098000"/>
          </a:xfrm>
        </p:spPr>
        <p:txBody>
          <a:bodyPr vert="horz"/>
          <a:lstStyle/>
          <a:p>
            <a:r>
              <a:rPr lang="en-US" dirty="0"/>
              <a:t>  Database</a:t>
            </a:r>
            <a:br>
              <a:rPr lang="en-US" dirty="0"/>
            </a:br>
            <a:r>
              <a:rPr lang="en-US" dirty="0"/>
              <a:t>  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BEBA9B-39E2-1685-F338-756D75D77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45" y="0"/>
            <a:ext cx="5523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17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20000" cy="487680"/>
          </a:xfrm>
        </p:spPr>
        <p:txBody>
          <a:bodyPr vert="horz"/>
          <a:lstStyle/>
          <a:p>
            <a:r>
              <a:rPr lang="vi-VN" dirty="0"/>
              <a:t>  Landing Page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A7D1A86-D921-095C-865A-9E773DE3CE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9492" y="9000"/>
            <a:ext cx="4871597" cy="6848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AA578FB-EAF7-3AA3-8691-2101E74B5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3427" y="487680"/>
            <a:ext cx="3854323" cy="622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4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AD147CD-FC6B-A993-2C1F-FE2EDB13A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233"/>
            <a:ext cx="9720000" cy="1098000"/>
          </a:xfrm>
        </p:spPr>
        <p:txBody>
          <a:bodyPr vert="horz"/>
          <a:lstStyle/>
          <a:p>
            <a:r>
              <a:rPr lang="vi-VN" dirty="0"/>
              <a:t>  Landing Page</a:t>
            </a:r>
            <a:br>
              <a:rPr lang="en-US" dirty="0"/>
            </a:br>
            <a:r>
              <a:rPr lang="en-US" dirty="0"/>
              <a:t>  (cont.)</a:t>
            </a:r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5ABC60-FA5E-ACE1-F410-DDB16B8D4312}"/>
              </a:ext>
            </a:extLst>
          </p:cNvPr>
          <p:cNvSpPr>
            <a:spLocks noChangeAspect="1"/>
          </p:cNvSpPr>
          <p:nvPr/>
        </p:nvSpPr>
        <p:spPr>
          <a:xfrm>
            <a:off x="4164028" y="5458288"/>
            <a:ext cx="792000" cy="7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631DB6-39AE-69DB-F29B-B8A7C7AF3598}"/>
              </a:ext>
            </a:extLst>
          </p:cNvPr>
          <p:cNvSpPr>
            <a:spLocks noChangeAspect="1"/>
          </p:cNvSpPr>
          <p:nvPr/>
        </p:nvSpPr>
        <p:spPr>
          <a:xfrm>
            <a:off x="4813750" y="1242822"/>
            <a:ext cx="828000" cy="828000"/>
          </a:xfrm>
          <a:prstGeom prst="ellipse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EDB7F49-93DD-91A9-AB59-4CAB1C7CA9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556000" y="3438000"/>
            <a:ext cx="1080000" cy="108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C62BF8-5B01-3BF5-8433-E6FA5B081B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2767" y="-10233"/>
            <a:ext cx="7351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680405e6-b67e-4188-afe9-1f6c4cc802d0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5a0a5fd8-e554-4dec-ae9e-1a78583e7e41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910</TotalTime>
  <Words>87</Words>
  <Application>Microsoft Office PowerPoint</Application>
  <PresentationFormat>Widescreen</PresentationFormat>
  <Paragraphs>35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Arial</vt:lpstr>
      <vt:lpstr>Calibri</vt:lpstr>
      <vt:lpstr>bbv template EN</vt:lpstr>
      <vt:lpstr>think-cell Slide</vt:lpstr>
      <vt:lpstr>PowerPoint Presentation</vt:lpstr>
      <vt:lpstr>MentorHub Project</vt:lpstr>
      <vt:lpstr>  Agenda</vt:lpstr>
      <vt:lpstr>  MentorHub </vt:lpstr>
      <vt:lpstr>  Social Subsystem</vt:lpstr>
      <vt:lpstr>  Use Case</vt:lpstr>
      <vt:lpstr>  Database   </vt:lpstr>
      <vt:lpstr>  Landing Page</vt:lpstr>
      <vt:lpstr>  Landing Page   (cont.)</vt:lpstr>
      <vt:lpstr>  Feed</vt:lpstr>
      <vt:lpstr>  Explore</vt:lpstr>
      <vt:lpstr>  Article Details</vt:lpstr>
      <vt:lpstr>  My Network</vt:lpstr>
      <vt:lpstr>  Group    </vt:lpstr>
      <vt:lpstr>  Group Details</vt:lpstr>
      <vt:lpstr>  Event</vt:lpstr>
      <vt:lpstr>  Jobs</vt:lpstr>
      <vt:lpstr>  Job Details</vt:lpstr>
      <vt:lpstr>  Jobs</vt:lpstr>
      <vt:lpstr>  Search Jobs</vt:lpstr>
      <vt:lpstr>  User Profile</vt:lpstr>
      <vt:lpstr>  Edit Profile</vt:lpstr>
      <vt:lpstr>  Dashboar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Vo Thinh</cp:lastModifiedBy>
  <cp:revision>54</cp:revision>
  <dcterms:created xsi:type="dcterms:W3CDTF">2023-03-02T06:20:39Z</dcterms:created>
  <dcterms:modified xsi:type="dcterms:W3CDTF">2024-06-28T10:1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